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</p:sldMasterIdLst>
  <p:notesMasterIdLst>
    <p:notesMasterId r:id="rId3"/>
  </p:notesMasterIdLst>
  <p:handoutMasterIdLst>
    <p:handoutMasterId r:id="rId4"/>
  </p:handoutMasterIdLst>
  <p:sldIdLst>
    <p:sldId id="381" r:id="rId2"/>
  </p:sldIdLst>
  <p:sldSz cx="10171113" cy="5721350"/>
  <p:notesSz cx="6858000" cy="91440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F5F5"/>
    <a:srgbClr val="C2C2C2"/>
    <a:srgbClr val="FCF8D2"/>
    <a:srgbClr val="DBE9E3"/>
    <a:srgbClr val="FFD9D9"/>
    <a:srgbClr val="CCD6F4"/>
    <a:srgbClr val="F5E977"/>
    <a:srgbClr val="94BCAC"/>
    <a:srgbClr val="FF8D8D"/>
    <a:srgbClr val="6684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61" autoAdjust="0"/>
    <p:restoredTop sz="94634"/>
  </p:normalViewPr>
  <p:slideViewPr>
    <p:cSldViewPr snapToGrid="0">
      <p:cViewPr varScale="1">
        <p:scale>
          <a:sx n="148" d="100"/>
          <a:sy n="148" d="100"/>
        </p:scale>
        <p:origin x="45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>
        <p:scale>
          <a:sx n="150" d="100"/>
          <a:sy n="150" d="100"/>
        </p:scale>
        <p:origin x="2388" y="-376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3762E-A522-41F7-B71E-E8E9707C82DC}" type="datetimeFigureOut">
              <a:rPr lang="de-DE" smtClean="0"/>
              <a:t>12.09.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2000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82000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6C91EF-3961-43DA-97D1-C6C9DED43CE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78451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4A0280-7445-4B27-8488-589517C4B039}" type="datetimeFigureOut">
              <a:rPr lang="de-DE" smtClean="0"/>
              <a:t>12.09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2238" y="447675"/>
            <a:ext cx="6613525" cy="37211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9925" y="4286992"/>
            <a:ext cx="5518150" cy="442949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2000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82000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43D2D7-4F35-42F2-BD56-11CB094AF2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31831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8890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780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1950" indent="-9525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45085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5085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45085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45085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FC2ED5B2-8DFC-4864-8442-56CA06BC5DA0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326516A-14A4-46D3-A41A-CBB2110739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6BE146A5-BAF4-4054-A6FC-9A94B206CF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45288" y="1124607"/>
            <a:ext cx="8848725" cy="346890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0021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1pPr>
            <a:lvl2pPr marL="600642" indent="-200214">
              <a:spcBef>
                <a:spcPts val="667"/>
              </a:spcBef>
              <a:defRPr sz="1200">
                <a:solidFill>
                  <a:schemeClr val="tx1"/>
                </a:solidFill>
              </a:defRPr>
            </a:lvl2pPr>
            <a:lvl3pPr marL="120128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3pPr>
            <a:lvl4pPr>
              <a:spcBef>
                <a:spcPts val="667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67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191274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 Folie (gr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AACDFDE0-431C-4D9D-882B-8185F84655D7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0F9679E-C982-4848-AFBA-3D706735C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916751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2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1646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7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KPL08" hidden="1"/>
          <p:cNvSpPr/>
          <p:nvPr userDrawn="1"/>
        </p:nvSpPr>
        <p:spPr>
          <a:xfrm>
            <a:off x="7899698" y="5408818"/>
            <a:ext cx="780212" cy="305491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de-DE" sz="1400" b="0" dirty="0">
                <a:solidFill>
                  <a:srgbClr val="658E11"/>
                </a:solidFill>
              </a:rPr>
              <a:t>Keine Kenntlichmachung</a:t>
            </a:r>
          </a:p>
        </p:txBody>
      </p:sp>
      <p:sp>
        <p:nvSpPr>
          <p:cNvPr id="20" name="textBoxUserName">
            <a:extLst>
              <a:ext uri="{FF2B5EF4-FFF2-40B4-BE49-F238E27FC236}">
                <a16:creationId xmlns:a16="http://schemas.microsoft.com/office/drawing/2014/main" id="{4256B69B-FB45-44AE-9888-1CD421195833}"/>
              </a:ext>
            </a:extLst>
          </p:cNvPr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77800" y="5534399"/>
            <a:ext cx="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700" dirty="0"/>
          </a:p>
        </p:txBody>
      </p:sp>
      <p:sp>
        <p:nvSpPr>
          <p:cNvPr id="21" name="textBoxDepartment">
            <a:extLst>
              <a:ext uri="{FF2B5EF4-FFF2-40B4-BE49-F238E27FC236}">
                <a16:creationId xmlns:a16="http://schemas.microsoft.com/office/drawing/2014/main" id="{94C697CA-6027-452F-B1DA-30301A41340C}"/>
              </a:ext>
            </a:extLst>
          </p:cNvPr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254065" y="5534399"/>
            <a:ext cx="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7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6B1722D-BD67-4847-BD1E-E8CA749920F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1226" y="178571"/>
            <a:ext cx="1253014" cy="35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893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65" r:id="rId2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>
          <a:prstClr val="black"/>
        </a:buClr>
        <a:buSzPct val="90000"/>
        <a:buFontTx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marR="0" indent="-179388" algn="l" defTabSz="91440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marR="0" indent="-179388" algn="l" defTabSz="358775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Porsche News Gothic" panose="02000400000000000000" pitchFamily="2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marR="0" indent="-179388" algn="l" defTabSz="538163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marR="0" indent="-179388" algn="l" defTabSz="71755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8525" marR="0" indent="-180975" algn="l" defTabSz="91440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98525" marR="0" indent="-180975" algn="l" defTabSz="91440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898525" marR="0" indent="-180975" algn="l" defTabSz="91440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898525" marR="0" indent="-180975" algn="l" defTabSz="91440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02" userDrawn="1">
          <p15:clr>
            <a:srgbClr val="F26B43"/>
          </p15:clr>
        </p15:guide>
        <p15:guide id="2" pos="479" userDrawn="1">
          <p15:clr>
            <a:srgbClr val="F26B43"/>
          </p15:clr>
        </p15:guide>
        <p15:guide id="3" orient="horz" pos="529" userDrawn="1">
          <p15:clr>
            <a:srgbClr val="F26B43"/>
          </p15:clr>
        </p15:guide>
        <p15:guide id="4" orient="horz" pos="704" userDrawn="1">
          <p15:clr>
            <a:srgbClr val="A4A3A4"/>
          </p15:clr>
        </p15:guide>
        <p15:guide id="5" orient="horz" pos="3073" userDrawn="1">
          <p15:clr>
            <a:srgbClr val="F26B43"/>
          </p15:clr>
        </p15:guide>
        <p15:guide id="6" orient="horz" pos="2896" userDrawn="1">
          <p15:clr>
            <a:srgbClr val="A4A3A4"/>
          </p15:clr>
        </p15:guide>
        <p15:guide id="7" pos="651" userDrawn="1">
          <p15:clr>
            <a:srgbClr val="A4A3A4"/>
          </p15:clr>
        </p15:guide>
        <p15:guide id="8" pos="1438" userDrawn="1">
          <p15:clr>
            <a:srgbClr val="A4A3A4"/>
          </p15:clr>
        </p15:guide>
        <p15:guide id="9" pos="1613" userDrawn="1">
          <p15:clr>
            <a:srgbClr val="A4A3A4"/>
          </p15:clr>
        </p15:guide>
        <p15:guide id="10" pos="2397" userDrawn="1">
          <p15:clr>
            <a:srgbClr val="A4A3A4"/>
          </p15:clr>
        </p15:guide>
        <p15:guide id="11" pos="2572" userDrawn="1">
          <p15:clr>
            <a:srgbClr val="A4A3A4"/>
          </p15:clr>
        </p15:guide>
        <p15:guide id="12" pos="3356" userDrawn="1">
          <p15:clr>
            <a:srgbClr val="A4A3A4"/>
          </p15:clr>
        </p15:guide>
        <p15:guide id="13" pos="3531" userDrawn="1">
          <p15:clr>
            <a:srgbClr val="A4A3A4"/>
          </p15:clr>
        </p15:guide>
        <p15:guide id="14" pos="4315" userDrawn="1">
          <p15:clr>
            <a:srgbClr val="A4A3A4"/>
          </p15:clr>
        </p15:guide>
        <p15:guide id="15" pos="4493" userDrawn="1">
          <p15:clr>
            <a:srgbClr val="A4A3A4"/>
          </p15:clr>
        </p15:guide>
        <p15:guide id="16" pos="5277" userDrawn="1">
          <p15:clr>
            <a:srgbClr val="A4A3A4"/>
          </p15:clr>
        </p15:guide>
        <p15:guide id="17" pos="5452" userDrawn="1">
          <p15:clr>
            <a:srgbClr val="A4A3A4"/>
          </p15:clr>
        </p15:guide>
        <p15:guide id="18" pos="623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65BEBD-6E39-4F72-A220-0B3979B62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024" y="264556"/>
            <a:ext cx="8003856" cy="369332"/>
          </a:xfrm>
        </p:spPr>
        <p:txBody>
          <a:bodyPr/>
          <a:lstStyle/>
          <a:p>
            <a:r>
              <a:rPr lang="de-DE" sz="2000" dirty="0"/>
              <a:t>Anforderungen </a:t>
            </a:r>
            <a:r>
              <a:rPr lang="de-DE" sz="2000"/>
              <a:t>(Ü2)</a:t>
            </a:r>
            <a:br>
              <a:rPr lang="de-DE" sz="2000"/>
            </a:br>
            <a:endParaRPr lang="de-DE" sz="2000" dirty="0"/>
          </a:p>
        </p:txBody>
      </p:sp>
      <p:sp>
        <p:nvSpPr>
          <p:cNvPr id="3" name="textBoxChapter">
            <a:extLst>
              <a:ext uri="{FF2B5EF4-FFF2-40B4-BE49-F238E27FC236}">
                <a16:creationId xmlns:a16="http://schemas.microsoft.com/office/drawing/2014/main" id="{FC5689ED-627E-4358-B536-A1F22DD8E332}"/>
              </a:ext>
            </a:extLst>
          </p:cNvPr>
          <p:cNvSpPr txBox="1"/>
          <p:nvPr/>
        </p:nvSpPr>
        <p:spPr>
          <a:xfrm>
            <a:off x="2176756" y="5384626"/>
            <a:ext cx="5817600" cy="3096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endParaRPr lang="de-DE" sz="1400" dirty="0">
              <a:latin typeface="NewsGoth for Porsche Com" panose="020B0506020203020204" pitchFamily="34" charset="0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50618C8-07A2-4062-A893-6B5E930182F7}"/>
              </a:ext>
            </a:extLst>
          </p:cNvPr>
          <p:cNvSpPr/>
          <p:nvPr/>
        </p:nvSpPr>
        <p:spPr>
          <a:xfrm>
            <a:off x="1069911" y="1067749"/>
            <a:ext cx="2599870" cy="4992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80088" rIns="120131" bIns="40044" rtlCol="0" anchor="ctr" anchorCtr="0">
            <a:normAutofit/>
          </a:bodyPr>
          <a:lstStyle/>
          <a:p>
            <a:pPr algn="ctr"/>
            <a:endParaRPr lang="de-DE" sz="1335" b="1" dirty="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1072F5D-5F1A-4E81-811C-3988DD43F2E8}"/>
              </a:ext>
            </a:extLst>
          </p:cNvPr>
          <p:cNvSpPr/>
          <p:nvPr/>
        </p:nvSpPr>
        <p:spPr>
          <a:xfrm>
            <a:off x="7111079" y="1063529"/>
            <a:ext cx="2599870" cy="5022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80088" rIns="120131" bIns="40044" rtlCol="0" anchor="ctr" anchorCtr="0">
            <a:normAutofit/>
          </a:bodyPr>
          <a:lstStyle/>
          <a:p>
            <a:pPr algn="ctr"/>
            <a:endParaRPr lang="de-DE" sz="1335" b="1" dirty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721D2B32-4034-4099-9861-17C4C4E17FC9}"/>
              </a:ext>
            </a:extLst>
          </p:cNvPr>
          <p:cNvSpPr/>
          <p:nvPr/>
        </p:nvSpPr>
        <p:spPr>
          <a:xfrm>
            <a:off x="4161307" y="1078475"/>
            <a:ext cx="2590135" cy="5102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80088" rIns="120131" bIns="40044" rtlCol="0" anchor="ctr" anchorCtr="0">
            <a:normAutofit/>
          </a:bodyPr>
          <a:lstStyle/>
          <a:p>
            <a:pPr algn="ctr"/>
            <a:r>
              <a:rPr lang="de-DE" sz="1335" b="1" dirty="0"/>
              <a:t>Meine Mitarbeiter*innen an mich</a:t>
            </a:r>
          </a:p>
        </p:txBody>
      </p:sp>
      <p:sp>
        <p:nvSpPr>
          <p:cNvPr id="52" name="Textplatzhalter 4">
            <a:extLst>
              <a:ext uri="{FF2B5EF4-FFF2-40B4-BE49-F238E27FC236}">
                <a16:creationId xmlns:a16="http://schemas.microsoft.com/office/drawing/2014/main" id="{57C333B0-CBF6-4E4F-AE11-7C4477B0629E}"/>
              </a:ext>
            </a:extLst>
          </p:cNvPr>
          <p:cNvSpPr txBox="1">
            <a:spLocks/>
          </p:cNvSpPr>
          <p:nvPr/>
        </p:nvSpPr>
        <p:spPr>
          <a:xfrm>
            <a:off x="1311472" y="1238145"/>
            <a:ext cx="176552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 sz="1400" b="1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marR="0" indent="-179388" algn="l" defTabSz="358775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Porsche News Gothic" panose="02000400000000000000" pitchFamily="2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marR="0" indent="-179388" algn="l" defTabSz="53816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Symbol" panose="05050102010706020507" pitchFamily="18" charset="2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marR="0" indent="-179388" algn="l" defTabSz="71755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Ich, an mich selbst</a:t>
            </a:r>
          </a:p>
        </p:txBody>
      </p:sp>
      <p:sp>
        <p:nvSpPr>
          <p:cNvPr id="54" name="Textplatzhalter 4">
            <a:extLst>
              <a:ext uri="{FF2B5EF4-FFF2-40B4-BE49-F238E27FC236}">
                <a16:creationId xmlns:a16="http://schemas.microsoft.com/office/drawing/2014/main" id="{5FA971E2-A2F6-4373-A6F2-C0BA1CAF70B3}"/>
              </a:ext>
            </a:extLst>
          </p:cNvPr>
          <p:cNvSpPr txBox="1">
            <a:spLocks/>
          </p:cNvSpPr>
          <p:nvPr/>
        </p:nvSpPr>
        <p:spPr>
          <a:xfrm>
            <a:off x="7309763" y="1225855"/>
            <a:ext cx="215341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 sz="1400" b="1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marR="0" indent="-179388" algn="l" defTabSz="358775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Porsche News Gothic" panose="02000400000000000000" pitchFamily="2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marR="0" indent="-179388" algn="l" defTabSz="53816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Symbol" panose="05050102010706020507" pitchFamily="18" charset="2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marR="0" indent="-179388" algn="l" defTabSz="71755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as Unternehmen an mich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8352D80E-75AC-6E41-9180-11929763F997}"/>
              </a:ext>
            </a:extLst>
          </p:cNvPr>
          <p:cNvSpPr txBox="1">
            <a:spLocks/>
          </p:cNvSpPr>
          <p:nvPr/>
        </p:nvSpPr>
        <p:spPr>
          <a:xfrm>
            <a:off x="1069910" y="1623985"/>
            <a:ext cx="2599871" cy="313375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marR="0" indent="-179388" algn="l" defTabSz="358775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Porsche News Gothic" panose="02000400000000000000" pitchFamily="2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marR="0" indent="-179388" algn="l" defTabSz="53816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Symbol" panose="05050102010706020507" pitchFamily="18" charset="2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marR="0" indent="-179388" algn="l" defTabSz="71755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EBE65EB7-2A74-A149-93E6-B478C3D223E9}"/>
              </a:ext>
            </a:extLst>
          </p:cNvPr>
          <p:cNvSpPr txBox="1">
            <a:spLocks/>
          </p:cNvSpPr>
          <p:nvPr/>
        </p:nvSpPr>
        <p:spPr>
          <a:xfrm>
            <a:off x="1069910" y="1628720"/>
            <a:ext cx="2599871" cy="313375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marR="0" indent="-179388" algn="l" defTabSz="358775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Porsche News Gothic" panose="02000400000000000000" pitchFamily="2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marR="0" indent="-179388" algn="l" defTabSz="53816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Symbol" panose="05050102010706020507" pitchFamily="18" charset="2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marR="0" indent="-179388" algn="l" defTabSz="71755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8525" marR="0" indent="-180975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NewsGoth for Porsche Com" pitchFamily="34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F9D0048-DDCA-994C-B458-E8A9A45611F4}"/>
              </a:ext>
            </a:extLst>
          </p:cNvPr>
          <p:cNvSpPr/>
          <p:nvPr/>
        </p:nvSpPr>
        <p:spPr>
          <a:xfrm>
            <a:off x="1079646" y="1588679"/>
            <a:ext cx="2590135" cy="3288121"/>
          </a:xfrm>
          <a:prstGeom prst="rect">
            <a:avLst/>
          </a:prstGeom>
          <a:solidFill>
            <a:schemeClr val="accent4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538886F-32BA-6F4C-B15F-48D1CEFFABCC}"/>
              </a:ext>
            </a:extLst>
          </p:cNvPr>
          <p:cNvSpPr/>
          <p:nvPr/>
        </p:nvSpPr>
        <p:spPr>
          <a:xfrm>
            <a:off x="4161307" y="1623985"/>
            <a:ext cx="2599871" cy="3252815"/>
          </a:xfrm>
          <a:prstGeom prst="rect">
            <a:avLst/>
          </a:prstGeom>
          <a:solidFill>
            <a:schemeClr val="accent4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AC2D610F-6788-2C4A-B42E-D53589711C82}"/>
              </a:ext>
            </a:extLst>
          </p:cNvPr>
          <p:cNvSpPr/>
          <p:nvPr/>
        </p:nvSpPr>
        <p:spPr>
          <a:xfrm>
            <a:off x="7120814" y="1603625"/>
            <a:ext cx="2590135" cy="3252815"/>
          </a:xfrm>
          <a:prstGeom prst="rect">
            <a:avLst/>
          </a:prstGeom>
          <a:solidFill>
            <a:schemeClr val="accent4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8EFEC3D-BAE6-5F4B-AC64-87C8AB9288C8}"/>
              </a:ext>
            </a:extLst>
          </p:cNvPr>
          <p:cNvSpPr txBox="1"/>
          <p:nvPr/>
        </p:nvSpPr>
        <p:spPr>
          <a:xfrm>
            <a:off x="558800" y="5445760"/>
            <a:ext cx="2008563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100" dirty="0"/>
              <a:t>© Hannelore Fritz, </a:t>
            </a:r>
            <a:r>
              <a:rPr lang="de-DE" sz="1100" dirty="0" err="1"/>
              <a:t>fritzcoaching.de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19802578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heme/theme1.xml><?xml version="1.0" encoding="utf-8"?>
<a:theme xmlns:a="http://schemas.openxmlformats.org/drawingml/2006/main" name="Porsche 16zu9 Mastervorlage ohne Navigation 2013">
  <a:themeElements>
    <a:clrScheme name="Porsche CI 2017 Farbpalette">
      <a:dk1>
        <a:sysClr val="windowText" lastClr="000000"/>
      </a:dk1>
      <a:lt1>
        <a:sysClr val="window" lastClr="FFFFFF"/>
      </a:lt1>
      <a:dk2>
        <a:srgbClr val="403F45"/>
      </a:dk2>
      <a:lt2>
        <a:srgbClr val="DAD9DE"/>
      </a:lt2>
      <a:accent1>
        <a:srgbClr val="737278"/>
      </a:accent1>
      <a:accent2>
        <a:srgbClr val="D5001C"/>
      </a:accent2>
      <a:accent3>
        <a:srgbClr val="B5B4BA"/>
      </a:accent3>
      <a:accent4>
        <a:srgbClr val="DAD9DE"/>
      </a:accent4>
      <a:accent5>
        <a:srgbClr val="FFFFFF"/>
      </a:accent5>
      <a:accent6>
        <a:srgbClr val="336699"/>
      </a:accent6>
      <a:hlink>
        <a:srgbClr val="B5B4BA"/>
      </a:hlink>
      <a:folHlink>
        <a:srgbClr val="DAD9D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317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Custom Color 1">
      <a:srgbClr val="2A4B6D"/>
    </a:custClr>
    <a:custClr name="Custom Color 2">
      <a:srgbClr val="3A6B9B"/>
    </a:custClr>
    <a:custClr name="Custom Color 3">
      <a:srgbClr val="5391C4"/>
    </a:custClr>
    <a:custClr name="Custom Color 4">
      <a:srgbClr val="76AFDC"/>
    </a:custClr>
    <a:custClr name="Custom Color 5">
      <a:srgbClr val="658E11"/>
    </a:custClr>
    <a:custClr name="Custom Color 6">
      <a:srgbClr val="8CB527"/>
    </a:custClr>
    <a:custClr name="Custom Color 7">
      <a:srgbClr val="D88711"/>
    </a:custClr>
    <a:custClr name="Custom Color 8">
      <a:srgbClr val="F2A100"/>
    </a:custClr>
    <a:custClr name="Custom Color 9">
      <a:srgbClr val="94001B"/>
    </a:custClr>
    <a:custClr name="Custom Color 10">
      <a:srgbClr val="C32718"/>
    </a:custClr>
  </a:custClrLst>
  <a:extLst>
    <a:ext uri="{05A4C25C-085E-4340-85A3-A5531E510DB2}">
      <thm15:themeFamily xmlns:thm15="http://schemas.microsoft.com/office/thememl/2012/main" name="Porsche Präsentations-Master-Vorlagen.pptx" id="{1F5CB06A-EF12-4B65-BFD5-537058F6CA9C}" vid="{3D9C66F8-33BE-4D66-A7AF-F8B76D9C5AED}"/>
    </a:ext>
  </a:extLst>
</a:theme>
</file>

<file path=ppt/theme/theme2.xml><?xml version="1.0" encoding="utf-8"?>
<a:theme xmlns:a="http://schemas.openxmlformats.org/drawingml/2006/main" name="Larissa">
  <a:themeElements>
    <a:clrScheme name="Porsche CI 2017 Farbpalette">
      <a:dk1>
        <a:sysClr val="windowText" lastClr="000000"/>
      </a:dk1>
      <a:lt1>
        <a:sysClr val="window" lastClr="FFFFFF"/>
      </a:lt1>
      <a:dk2>
        <a:srgbClr val="403F45"/>
      </a:dk2>
      <a:lt2>
        <a:srgbClr val="DAD9DE"/>
      </a:lt2>
      <a:accent1>
        <a:srgbClr val="737278"/>
      </a:accent1>
      <a:accent2>
        <a:srgbClr val="D5001C"/>
      </a:accent2>
      <a:accent3>
        <a:srgbClr val="B5B4BA"/>
      </a:accent3>
      <a:accent4>
        <a:srgbClr val="DAD9DE"/>
      </a:accent4>
      <a:accent5>
        <a:srgbClr val="FFFFFF"/>
      </a:accent5>
      <a:accent6>
        <a:srgbClr val="336699"/>
      </a:accent6>
      <a:hlink>
        <a:srgbClr val="B5B4BA"/>
      </a:hlink>
      <a:folHlink>
        <a:srgbClr val="DAD9DE"/>
      </a:folHlink>
    </a:clrScheme>
    <a:fontScheme name="Porsche Next TT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Porsche Mastervorlage 2013">
      <a:dk1>
        <a:sysClr val="windowText" lastClr="000000"/>
      </a:dk1>
      <a:lt1>
        <a:sysClr val="window" lastClr="FFFFFF"/>
      </a:lt1>
      <a:dk2>
        <a:srgbClr val="5F5F5F"/>
      </a:dk2>
      <a:lt2>
        <a:srgbClr val="777777"/>
      </a:lt2>
      <a:accent1>
        <a:srgbClr val="A7A7A7"/>
      </a:accent1>
      <a:accent2>
        <a:srgbClr val="D60027"/>
      </a:accent2>
      <a:accent3>
        <a:srgbClr val="C0C0C0"/>
      </a:accent3>
      <a:accent4>
        <a:srgbClr val="E1E1E1"/>
      </a:accent4>
      <a:accent5>
        <a:srgbClr val="FFFFFF"/>
      </a:accent5>
      <a:accent6>
        <a:srgbClr val="336699"/>
      </a:accent6>
      <a:hlink>
        <a:srgbClr val="C0C0C0"/>
      </a:hlink>
      <a:folHlink>
        <a:srgbClr val="E1E1E1"/>
      </a:folHlink>
    </a:clrScheme>
    <a:fontScheme name="Porsche Next TT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rsche Präsentations-Master-Vorlagen</Template>
  <TotalTime>0</TotalTime>
  <Words>27</Words>
  <Application>Microsoft Macintosh PowerPoint</Application>
  <PresentationFormat>Benutzerdefiniert</PresentationFormat>
  <Paragraphs>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Calibri Light</vt:lpstr>
      <vt:lpstr>NewsGoth for Porsche Com</vt:lpstr>
      <vt:lpstr>Porsche News Gothic</vt:lpstr>
      <vt:lpstr>Porsche Next TT</vt:lpstr>
      <vt:lpstr>Symbol</vt:lpstr>
      <vt:lpstr>Wingdings</vt:lpstr>
      <vt:lpstr>Porsche 16zu9 Mastervorlage ohne Navigation 2013</vt:lpstr>
      <vt:lpstr>think-cell Folie</vt:lpstr>
      <vt:lpstr>Anforderungen (Ü2) </vt:lpstr>
    </vt:vector>
  </TitlesOfParts>
  <Manager/>
  <Company>fritz!COACHIN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ürsorgepflicht für FK und Meister</dc:title>
  <dc:subject>Teilnehmerunterlagen von fritz!COACHING</dc:subject>
  <dc:creator>Hannelore Fritz</dc:creator>
  <cp:keywords/>
  <dc:description>
</dc:description>
  <cp:lastModifiedBy>Hannelore Fritz</cp:lastModifiedBy>
  <cp:revision>45</cp:revision>
  <dcterms:created xsi:type="dcterms:W3CDTF">2018-09-13T14:23:59Z</dcterms:created>
  <dcterms:modified xsi:type="dcterms:W3CDTF">2021-09-12T07:59:42Z</dcterms:modified>
  <cp:category/>
</cp:coreProperties>
</file>